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6"/>
  </p:notesMasterIdLst>
  <p:sldIdLst>
    <p:sldId id="259" r:id="rId2"/>
    <p:sldId id="258" r:id="rId3"/>
    <p:sldId id="260" r:id="rId4"/>
    <p:sldId id="261" r:id="rId5"/>
  </p:sldIdLst>
  <p:sldSz cx="9144000" cy="6858000" type="screen4x3"/>
  <p:notesSz cx="6858000" cy="9144000"/>
  <p:custDataLst>
    <p:tags r:id="rId7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86" autoAdjust="0"/>
    <p:restoredTop sz="94619" autoAdjust="0"/>
  </p:normalViewPr>
  <p:slideViewPr>
    <p:cSldViewPr>
      <p:cViewPr varScale="1">
        <p:scale>
          <a:sx n="113" d="100"/>
          <a:sy n="113" d="100"/>
        </p:scale>
        <p:origin x="160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>
            <a:extLst>
              <a:ext uri="{FF2B5EF4-FFF2-40B4-BE49-F238E27FC236}">
                <a16:creationId xmlns:a16="http://schemas.microsoft.com/office/drawing/2014/main" id="{1D02A8DF-D6CE-4D49-8DD1-BBCC5C201E0F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en-DE"/>
          </a:p>
        </p:txBody>
      </p:sp>
      <p:sp>
        <p:nvSpPr>
          <p:cNvPr id="9219" name="Rectangle 3">
            <a:extLst>
              <a:ext uri="{FF2B5EF4-FFF2-40B4-BE49-F238E27FC236}">
                <a16:creationId xmlns:a16="http://schemas.microsoft.com/office/drawing/2014/main" id="{F1279A7F-09C5-6D43-A9A0-DD27BC6E5C2C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 altLang="en-DE"/>
          </a:p>
        </p:txBody>
      </p:sp>
      <p:sp>
        <p:nvSpPr>
          <p:cNvPr id="9220" name="Rectangle 4">
            <a:extLst>
              <a:ext uri="{FF2B5EF4-FFF2-40B4-BE49-F238E27FC236}">
                <a16:creationId xmlns:a16="http://schemas.microsoft.com/office/drawing/2014/main" id="{60F757C1-021E-A345-880E-3B2BBC60C6BA}"/>
              </a:ext>
            </a:extLst>
          </p:cNvPr>
          <p:cNvSpPr>
            <a:spLocks noRo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>
            <a:extLst>
              <a:ext uri="{FF2B5EF4-FFF2-40B4-BE49-F238E27FC236}">
                <a16:creationId xmlns:a16="http://schemas.microsoft.com/office/drawing/2014/main" id="{4D27AFB6-F607-0B40-8F68-93BBB40706E8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DE"/>
              <a:t>Textmasterformate durch Klicken bearbeiten</a:t>
            </a:r>
          </a:p>
          <a:p>
            <a:pPr lvl="1"/>
            <a:r>
              <a:rPr lang="de-DE" altLang="en-DE"/>
              <a:t>Zweite Ebene</a:t>
            </a:r>
          </a:p>
          <a:p>
            <a:pPr lvl="2"/>
            <a:r>
              <a:rPr lang="de-DE" altLang="en-DE"/>
              <a:t>Dritte Ebene</a:t>
            </a:r>
          </a:p>
          <a:p>
            <a:pPr lvl="3"/>
            <a:r>
              <a:rPr lang="de-DE" altLang="en-DE"/>
              <a:t>Vierte Ebene</a:t>
            </a:r>
          </a:p>
          <a:p>
            <a:pPr lvl="4"/>
            <a:r>
              <a:rPr lang="de-DE" altLang="en-DE"/>
              <a:t>Fünfte Ebene</a:t>
            </a:r>
          </a:p>
        </p:txBody>
      </p:sp>
      <p:sp>
        <p:nvSpPr>
          <p:cNvPr id="9222" name="Rectangle 6">
            <a:extLst>
              <a:ext uri="{FF2B5EF4-FFF2-40B4-BE49-F238E27FC236}">
                <a16:creationId xmlns:a16="http://schemas.microsoft.com/office/drawing/2014/main" id="{36FDAD75-D813-C640-9E54-89C9FF3B9D41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en-DE"/>
          </a:p>
        </p:txBody>
      </p:sp>
      <p:sp>
        <p:nvSpPr>
          <p:cNvPr id="9223" name="Rectangle 7">
            <a:extLst>
              <a:ext uri="{FF2B5EF4-FFF2-40B4-BE49-F238E27FC236}">
                <a16:creationId xmlns:a16="http://schemas.microsoft.com/office/drawing/2014/main" id="{67BEC392-0AAE-A743-975F-F5D609EF9E4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2DB8A4BF-DAFB-DD48-A6EA-6D55D754AAEC}" type="slidenum">
              <a:rPr lang="de-DE" altLang="en-DE"/>
              <a:pPr/>
              <a:t>‹#›</a:t>
            </a:fld>
            <a:endParaRPr lang="de-DE" altLang="en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5.jpeg"/><Relationship Id="rId4" Type="http://schemas.openxmlformats.org/officeDocument/2006/relationships/tags" Target="../tags/tag10.xml"/><Relationship Id="rId9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>
            <a:extLst>
              <a:ext uri="{FF2B5EF4-FFF2-40B4-BE49-F238E27FC236}">
                <a16:creationId xmlns:a16="http://schemas.microsoft.com/office/drawing/2014/main" id="{33A43F65-809D-534B-B080-5584EF53788B}"/>
              </a:ext>
            </a:extLst>
          </p:cNvPr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altLang="en-DE" noProof="0"/>
              <a:t>Click to edit Master title style</a:t>
            </a:r>
            <a:endParaRPr lang="de-DE" altLang="en-DE" noProof="0"/>
          </a:p>
        </p:txBody>
      </p:sp>
      <p:sp>
        <p:nvSpPr>
          <p:cNvPr id="4099" name="Rectangle 3">
            <a:extLst>
              <a:ext uri="{FF2B5EF4-FFF2-40B4-BE49-F238E27FC236}">
                <a16:creationId xmlns:a16="http://schemas.microsoft.com/office/drawing/2014/main" id="{FC3B393D-F98E-C14A-8CB0-BD420AAC0DC2}"/>
              </a:ext>
            </a:extLst>
          </p:cNvPr>
          <p:cNvSpPr>
            <a:spLocks noGrp="1" noChangeArrowheads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39750" y="5686397"/>
            <a:ext cx="8061325" cy="252441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r>
              <a:rPr lang="de-DE" altLang="en-US" dirty="0"/>
              <a:t>Kevin </a:t>
            </a:r>
            <a:r>
              <a:rPr lang="de-DE" altLang="en-US" dirty="0" err="1"/>
              <a:t>Hertwig</a:t>
            </a:r>
            <a:r>
              <a:rPr lang="de-DE" altLang="en-US" dirty="0"/>
              <a:t>, Mike Herman, Wilke Klausing | </a:t>
            </a:r>
            <a:r>
              <a:rPr lang="de-DE" altLang="en-US" dirty="0" err="1"/>
              <a:t>Blockchain</a:t>
            </a:r>
            <a:r>
              <a:rPr lang="de-DE" altLang="en-US" dirty="0"/>
              <a:t> Technologies SS21 | Final Project Demo</a:t>
            </a:r>
          </a:p>
        </p:txBody>
      </p:sp>
      <p:sp>
        <p:nvSpPr>
          <p:cNvPr id="4104" name="Line 8">
            <a:extLst>
              <a:ext uri="{FF2B5EF4-FFF2-40B4-BE49-F238E27FC236}">
                <a16:creationId xmlns:a16="http://schemas.microsoft.com/office/drawing/2014/main" id="{32BD163C-56E3-4F4E-8E3C-62B0E7432A33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DE"/>
          </a:p>
        </p:txBody>
      </p:sp>
      <p:pic>
        <p:nvPicPr>
          <p:cNvPr id="4105" name="Picture 9">
            <a:extLst>
              <a:ext uri="{FF2B5EF4-FFF2-40B4-BE49-F238E27FC236}">
                <a16:creationId xmlns:a16="http://schemas.microsoft.com/office/drawing/2014/main" id="{CC2D454D-8A34-A349-9ACA-DD8086C959CB}"/>
              </a:ext>
            </a:extLst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>
            <a:extLst>
              <a:ext uri="{FF2B5EF4-FFF2-40B4-BE49-F238E27FC236}">
                <a16:creationId xmlns:a16="http://schemas.microsoft.com/office/drawing/2014/main" id="{2DCE67F2-CCA1-DB41-A25E-85056B8A5291}"/>
              </a:ext>
            </a:extLst>
          </p:cNvPr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>
            <a:extLst>
              <a:ext uri="{FF2B5EF4-FFF2-40B4-BE49-F238E27FC236}">
                <a16:creationId xmlns:a16="http://schemas.microsoft.com/office/drawing/2014/main" id="{8C44818D-B5E0-5040-BA9C-3EBC7EE2D1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2F2FCD-F92E-3346-9BF8-7D92AD090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DFF4BD-90A4-3A4C-B1E0-CC9E153B39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77AEF4-8088-364B-8CB6-2589EB8897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en-DE" dirty="0"/>
              <a:t>Group </a:t>
            </a:r>
            <a:r>
              <a:rPr lang="de-DE" altLang="en-DE" dirty="0" err="1"/>
              <a:t>Salmon</a:t>
            </a:r>
            <a:r>
              <a:rPr lang="de-DE" altLang="en-DE" dirty="0"/>
              <a:t>: Rep Token </a:t>
            </a:r>
            <a:r>
              <a:rPr lang="de-DE" altLang="en-DE" b="0" dirty="0"/>
              <a:t>|</a:t>
            </a:r>
            <a:r>
              <a:rPr lang="de-DE" altLang="en-DE" dirty="0"/>
              <a:t> </a:t>
            </a:r>
            <a:r>
              <a:rPr lang="de-DE" altLang="en-US" b="0" dirty="0"/>
              <a:t>Kevin </a:t>
            </a:r>
            <a:r>
              <a:rPr lang="de-DE" altLang="en-US" b="0" dirty="0" err="1"/>
              <a:t>Hertwig</a:t>
            </a:r>
            <a:r>
              <a:rPr lang="de-DE" altLang="en-US" b="0" dirty="0"/>
              <a:t>, Mike Herman, Wilke Klausing</a:t>
            </a:r>
            <a:r>
              <a:rPr lang="de-DE" altLang="en-DE" b="0" dirty="0"/>
              <a:t> | Final Project Dem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4CD6DE-BCA1-0A4C-8231-BDE58DBFCA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en-DE"/>
              <a:t>Seite </a:t>
            </a:r>
            <a:fld id="{B447697F-5505-7B46-8476-4146F70CF7C9}" type="slidenum">
              <a:rPr lang="de-DE" altLang="en-DE"/>
              <a:pPr/>
              <a:t>‹#›</a:t>
            </a:fld>
            <a:endParaRPr lang="de-DE" altLang="en-DE"/>
          </a:p>
        </p:txBody>
      </p:sp>
    </p:spTree>
    <p:extLst>
      <p:ext uri="{BB962C8B-B14F-4D97-AF65-F5344CB8AC3E}">
        <p14:creationId xmlns:p14="http://schemas.microsoft.com/office/powerpoint/2010/main" val="2282081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6337E-64BE-3A45-A755-EA5D7DECB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156AFB-F0B5-B345-9955-0C8B927811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50F456-0645-174D-83BA-813FABE85B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1571EC-C05B-7841-AA9F-0C38861B79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en-DE" dirty="0"/>
              <a:t>Group </a:t>
            </a:r>
            <a:r>
              <a:rPr lang="de-DE" altLang="en-DE" dirty="0" err="1"/>
              <a:t>Salmon</a:t>
            </a:r>
            <a:r>
              <a:rPr lang="de-DE" altLang="en-DE" dirty="0"/>
              <a:t>: Rep Token </a:t>
            </a:r>
            <a:r>
              <a:rPr lang="de-DE" altLang="en-DE" b="0" dirty="0"/>
              <a:t>|</a:t>
            </a:r>
            <a:r>
              <a:rPr lang="de-DE" altLang="en-DE" dirty="0"/>
              <a:t> </a:t>
            </a:r>
            <a:r>
              <a:rPr lang="de-DE" altLang="en-US" b="0" dirty="0"/>
              <a:t>Kevin </a:t>
            </a:r>
            <a:r>
              <a:rPr lang="de-DE" altLang="en-US" b="0" dirty="0" err="1"/>
              <a:t>Hertwig</a:t>
            </a:r>
            <a:r>
              <a:rPr lang="de-DE" altLang="en-US" b="0" dirty="0"/>
              <a:t>, Mike Herman, Wilke Klausing</a:t>
            </a:r>
            <a:r>
              <a:rPr lang="de-DE" altLang="en-DE" b="0" dirty="0"/>
              <a:t> | Final Project Dem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F77765-B713-7048-A467-8376860059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en-DE"/>
              <a:t>Seite </a:t>
            </a:r>
            <a:fld id="{DED6E7AE-80DB-DF4C-92A8-38BD69B5BFE7}" type="slidenum">
              <a:rPr lang="de-DE" altLang="en-DE"/>
              <a:pPr/>
              <a:t>‹#›</a:t>
            </a:fld>
            <a:endParaRPr lang="de-DE" altLang="en-DE"/>
          </a:p>
        </p:txBody>
      </p:sp>
    </p:spTree>
    <p:extLst>
      <p:ext uri="{BB962C8B-B14F-4D97-AF65-F5344CB8AC3E}">
        <p14:creationId xmlns:p14="http://schemas.microsoft.com/office/powerpoint/2010/main" val="7601975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vmlDrawing" Target="../drawings/vmlDrawing1.vml"/><Relationship Id="rId15" Type="http://schemas.openxmlformats.org/officeDocument/2006/relationships/image" Target="../media/image3.png"/><Relationship Id="rId10" Type="http://schemas.openxmlformats.org/officeDocument/2006/relationships/tags" Target="../tags/tag6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>
            <a:extLst>
              <a:ext uri="{FF2B5EF4-FFF2-40B4-BE49-F238E27FC236}">
                <a16:creationId xmlns:a16="http://schemas.microsoft.com/office/drawing/2014/main" id="{ED10FE0A-661D-BF4E-A7DE-3E0CA628C71B}"/>
              </a:ext>
            </a:extLst>
          </p:cNvPr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r:id="rId12" imgW="0" imgH="0" progId="TCLayout.ActiveDocument.1">
                  <p:embed/>
                </p:oleObj>
              </mc:Choice>
              <mc:Fallback>
                <p:oleObj r:id="rId12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>
            <a:extLst>
              <a:ext uri="{FF2B5EF4-FFF2-40B4-BE49-F238E27FC236}">
                <a16:creationId xmlns:a16="http://schemas.microsoft.com/office/drawing/2014/main" id="{CCC16F82-1707-1047-A539-924E68BC2B56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en-DE"/>
              <a:t>Titel durch Klicken hinzufügen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93B3D8D0-2E97-E648-8182-00BBBFF2D5A6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DE"/>
              <a:t>Text durck Klicken hinzufügen</a:t>
            </a:r>
          </a:p>
          <a:p>
            <a:pPr lvl="1"/>
            <a:r>
              <a:rPr lang="de-DE" altLang="en-DE"/>
              <a:t>Xxx</a:t>
            </a:r>
          </a:p>
        </p:txBody>
      </p:sp>
      <p:pic>
        <p:nvPicPr>
          <p:cNvPr id="1031" name="Picture 7">
            <a:extLst>
              <a:ext uri="{FF2B5EF4-FFF2-40B4-BE49-F238E27FC236}">
                <a16:creationId xmlns:a16="http://schemas.microsoft.com/office/drawing/2014/main" id="{32BAC623-66E7-3343-9427-5ADD522EABA8}"/>
              </a:ext>
            </a:extLst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>
            <a:extLst>
              <a:ext uri="{FF2B5EF4-FFF2-40B4-BE49-F238E27FC236}">
                <a16:creationId xmlns:a16="http://schemas.microsoft.com/office/drawing/2014/main" id="{895B5207-06DA-6D45-84D4-E0774005E48E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10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 altLang="en-US" dirty="0"/>
              <a:t>Kevin </a:t>
            </a:r>
            <a:r>
              <a:rPr lang="de-DE" altLang="en-US" dirty="0" err="1"/>
              <a:t>Hertwig</a:t>
            </a:r>
            <a:r>
              <a:rPr lang="de-DE" altLang="en-US" dirty="0"/>
              <a:t>, Mike Herman, Wilke Klausing | </a:t>
            </a:r>
            <a:r>
              <a:rPr lang="de-DE" altLang="en-US" dirty="0" err="1"/>
              <a:t>Blockchain</a:t>
            </a:r>
            <a:r>
              <a:rPr lang="de-DE" altLang="en-US" dirty="0"/>
              <a:t> Technologies SS21 | Final Project Demo</a:t>
            </a:r>
          </a:p>
        </p:txBody>
      </p:sp>
      <p:sp>
        <p:nvSpPr>
          <p:cNvPr id="1038" name="Rectangle 14">
            <a:extLst>
              <a:ext uri="{FF2B5EF4-FFF2-40B4-BE49-F238E27FC236}">
                <a16:creationId xmlns:a16="http://schemas.microsoft.com/office/drawing/2014/main" id="{7FFAC5A6-787E-C647-8DFC-4D13D424BD6D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1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 altLang="en-DE"/>
              <a:t>Seite </a:t>
            </a:r>
            <a:fld id="{E3F41419-2CAA-FC4A-B3A5-F2EFCE8BA25B}" type="slidenum">
              <a:rPr lang="de-DE" altLang="en-DE"/>
              <a:pPr/>
              <a:t>‹#›</a:t>
            </a:fld>
            <a:endParaRPr lang="de-DE" altLang="en-DE"/>
          </a:p>
        </p:txBody>
      </p:sp>
      <p:sp>
        <p:nvSpPr>
          <p:cNvPr id="1043" name="Rectangle 19">
            <a:extLst>
              <a:ext uri="{FF2B5EF4-FFF2-40B4-BE49-F238E27FC236}">
                <a16:creationId xmlns:a16="http://schemas.microsoft.com/office/drawing/2014/main" id="{D6D00544-90DB-6149-AD65-4859D8BB69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de-DE" altLang="en-DE" sz="1000"/>
              <a:t>Dezentrales Logo</a:t>
            </a:r>
          </a:p>
          <a:p>
            <a:r>
              <a:rPr lang="de-DE" altLang="en-DE" sz="1000"/>
              <a:t>optional</a:t>
            </a:r>
            <a:endParaRPr lang="de-DE" altLang="en-DE" sz="1800"/>
          </a:p>
        </p:txBody>
      </p:sp>
      <p:pic>
        <p:nvPicPr>
          <p:cNvPr id="1044" name="Picture 20">
            <a:extLst>
              <a:ext uri="{FF2B5EF4-FFF2-40B4-BE49-F238E27FC236}">
                <a16:creationId xmlns:a16="http://schemas.microsoft.com/office/drawing/2014/main" id="{C66A4AA4-FF1F-1941-BBD0-5BC03AEEB3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98ED74-7F2B-5F47-A813-47FBDBA6244A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7232650" y="6226175"/>
            <a:ext cx="1460500" cy="5969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C5E99-7304-7441-AE5F-6E80E8E20C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750" y="4932578"/>
            <a:ext cx="8061325" cy="358560"/>
          </a:xfrm>
        </p:spPr>
        <p:txBody>
          <a:bodyPr/>
          <a:lstStyle/>
          <a:p>
            <a:r>
              <a:rPr lang="en-DE" dirty="0"/>
              <a:t>Group Salmon: Rep Toke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C472E0-7E55-994D-A1CC-19E5BCCD6D9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987352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C723BB-05A5-D748-9AD6-052093AE64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DE" dirty="0"/>
              <a:t>Problem statement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1600AF-99A5-EA43-A24C-ECC75EA98D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DE" dirty="0"/>
              <a:t>Self-proclaimed experts make prediction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DE" dirty="0"/>
              <a:t>Harm real experts in the fiel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DE" dirty="0"/>
              <a:t>Trick unaware peopl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DE" dirty="0"/>
              <a:t>People don’t k</a:t>
            </a:r>
            <a:r>
              <a:rPr lang="en-GB" dirty="0"/>
              <a:t>no</a:t>
            </a:r>
            <a:r>
              <a:rPr lang="en-DE" dirty="0"/>
              <a:t>w who to trust</a:t>
            </a:r>
          </a:p>
          <a:p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818E8A-C9B9-A64D-9741-99C32E1569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en-DE"/>
              <a:t>Group Salmon: Rep Token </a:t>
            </a:r>
            <a:r>
              <a:rPr lang="de-DE" altLang="en-DE" b="0"/>
              <a:t>|</a:t>
            </a:r>
            <a:r>
              <a:rPr lang="de-DE" altLang="en-DE"/>
              <a:t> </a:t>
            </a:r>
            <a:r>
              <a:rPr lang="de-DE" altLang="en-US" b="0"/>
              <a:t>Kevin Hertwig, Mike Herman, Wilke Klausing</a:t>
            </a:r>
            <a:r>
              <a:rPr lang="de-DE" altLang="en-DE" b="0"/>
              <a:t> | Final Project Demo</a:t>
            </a:r>
            <a:endParaRPr lang="de-DE" altLang="en-DE" b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C60E87-50E0-5746-9BDA-B6A9A8E887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en-DE"/>
              <a:t>Seite </a:t>
            </a:r>
            <a:fld id="{B447697F-5505-7B46-8476-4146F70CF7C9}" type="slidenum">
              <a:rPr lang="de-DE" altLang="en-DE" smtClean="0"/>
              <a:pPr/>
              <a:t>2</a:t>
            </a:fld>
            <a:endParaRPr lang="de-DE" altLang="en-DE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67CE9B6-F55B-4F4B-972C-6B89B63D85B2}"/>
              </a:ext>
            </a:extLst>
          </p:cNvPr>
          <p:cNvGrpSpPr/>
          <p:nvPr/>
        </p:nvGrpSpPr>
        <p:grpSpPr>
          <a:xfrm>
            <a:off x="4446240" y="2349499"/>
            <a:ext cx="4572000" cy="1371600"/>
            <a:chOff x="4446240" y="2349499"/>
            <a:chExt cx="4572000" cy="137160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94DAF08-E1EE-0C48-815E-5AD862CF1C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518" b="1518"/>
            <a:stretch/>
          </p:blipFill>
          <p:spPr>
            <a:xfrm>
              <a:off x="4446240" y="2349499"/>
              <a:ext cx="2286000" cy="13716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9AD55B9-AADA-F647-9E08-1F2EF4C68F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532" b="7532"/>
            <a:stretch/>
          </p:blipFill>
          <p:spPr>
            <a:xfrm>
              <a:off x="6732240" y="2349499"/>
              <a:ext cx="2286000" cy="1371600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780F884-55B3-F749-BFFC-1422C3B3C926}"/>
              </a:ext>
            </a:extLst>
          </p:cNvPr>
          <p:cNvGrpSpPr/>
          <p:nvPr/>
        </p:nvGrpSpPr>
        <p:grpSpPr>
          <a:xfrm>
            <a:off x="539750" y="4381294"/>
            <a:ext cx="7962568" cy="1454857"/>
            <a:chOff x="539750" y="4381294"/>
            <a:chExt cx="7962568" cy="1454857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C930B12-47B5-D448-AE88-D0B8DE73F8C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130685" y="4396151"/>
              <a:ext cx="4371633" cy="14400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29C5E2C-2283-AE4E-ADBA-71BE771ACA1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39750" y="4381294"/>
              <a:ext cx="3590935" cy="14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39761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71C0FE-47A3-9C42-836A-491508D58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DE" dirty="0"/>
              <a:t>Solution: Rep Tok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05A60D-65F0-F943-9BC1-12B0119FC4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Indicator for how accurate stock predictions had bee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dirty="0"/>
              <a:t>Field has high incentive to li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Uses the transparency of the blockchai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dirty="0"/>
              <a:t>Wrong predictions can not be remove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dirty="0"/>
              <a:t>Predictions can only be made before the event takes plac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Give silent experts a strong argument against fake gurus</a:t>
            </a:r>
          </a:p>
          <a:p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2ABD54-925F-8044-862F-A4EE4F5A8C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en-DE"/>
              <a:t>Group Salmon: Rep Token </a:t>
            </a:r>
            <a:r>
              <a:rPr lang="de-DE" altLang="en-DE" b="0"/>
              <a:t>|</a:t>
            </a:r>
            <a:r>
              <a:rPr lang="de-DE" altLang="en-DE"/>
              <a:t> </a:t>
            </a:r>
            <a:r>
              <a:rPr lang="de-DE" altLang="en-US" b="0"/>
              <a:t>Kevin Hertwig, Mike Herman, Wilke Klausing</a:t>
            </a:r>
            <a:r>
              <a:rPr lang="de-DE" altLang="en-DE" b="0"/>
              <a:t> | Final Project Demo</a:t>
            </a:r>
            <a:endParaRPr lang="de-DE" altLang="en-DE" b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8BAA4C-CD88-194D-8894-CC0C6182EE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en-DE"/>
              <a:t>Seite </a:t>
            </a:r>
            <a:fld id="{B447697F-5505-7B46-8476-4146F70CF7C9}" type="slidenum">
              <a:rPr lang="de-DE" altLang="en-DE" smtClean="0"/>
              <a:pPr/>
              <a:t>3</a:t>
            </a:fld>
            <a:endParaRPr lang="de-DE" altLang="en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57D000D-CECB-CC4D-809F-E8637987F4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0112" y="3789040"/>
            <a:ext cx="2909036" cy="1946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7405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08D425-33B2-D64A-B259-B317D0126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95A220-17BE-6B4C-8010-5C530BC521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5B2806-E620-9946-97F9-1F05164580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en-DE"/>
              <a:t>Group Salmon: Rep Token </a:t>
            </a:r>
            <a:r>
              <a:rPr lang="de-DE" altLang="en-DE" b="0"/>
              <a:t>|</a:t>
            </a:r>
            <a:r>
              <a:rPr lang="de-DE" altLang="en-DE"/>
              <a:t> </a:t>
            </a:r>
            <a:r>
              <a:rPr lang="de-DE" altLang="en-US" b="0"/>
              <a:t>Kevin Hertwig, Mike Herman, Wilke Klausing</a:t>
            </a:r>
            <a:r>
              <a:rPr lang="de-DE" altLang="en-DE" b="0"/>
              <a:t> | Final Project Demo</a:t>
            </a:r>
            <a:endParaRPr lang="de-DE" altLang="en-DE" b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0A2236-E504-074D-B1FA-96F5BA9276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en-DE"/>
              <a:t>Seite </a:t>
            </a:r>
            <a:fld id="{B447697F-5505-7B46-8476-4146F70CF7C9}" type="slidenum">
              <a:rPr lang="de-DE" altLang="en-DE" smtClean="0"/>
              <a:pPr/>
              <a:t>4</a:t>
            </a:fld>
            <a:endParaRPr lang="de-DE" altLang="en-DE"/>
          </a:p>
        </p:txBody>
      </p:sp>
    </p:spTree>
    <p:extLst>
      <p:ext uri="{BB962C8B-B14F-4D97-AF65-F5344CB8AC3E}">
        <p14:creationId xmlns:p14="http://schemas.microsoft.com/office/powerpoint/2010/main" val="2578934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Technische Universität Berlin | PowerPoint Master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en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en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chnische Universität Berlin | PowerPoint Master</Template>
  <TotalTime>23</TotalTime>
  <Words>138</Words>
  <Application>Microsoft Macintosh PowerPoint</Application>
  <PresentationFormat>On-screen Show (4:3)</PresentationFormat>
  <Paragraphs>19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7" baseType="lpstr">
      <vt:lpstr>Arial</vt:lpstr>
      <vt:lpstr>Technische Universität Berlin | PowerPoint Master</vt:lpstr>
      <vt:lpstr>TCLayout.ActiveDocument.1</vt:lpstr>
      <vt:lpstr>Group Salmon: Rep Token</vt:lpstr>
      <vt:lpstr>Problem statement </vt:lpstr>
      <vt:lpstr>Solution: Rep Toke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up Salmon: Rep Token</dc:title>
  <dc:creator>TU-Pseudonym 6603276292856609</dc:creator>
  <cp:lastModifiedBy>TU-Pseudonym 6603276292856609</cp:lastModifiedBy>
  <cp:revision>3</cp:revision>
  <dcterms:created xsi:type="dcterms:W3CDTF">2021-07-06T10:21:14Z</dcterms:created>
  <dcterms:modified xsi:type="dcterms:W3CDTF">2021-07-06T10:45:09Z</dcterms:modified>
</cp:coreProperties>
</file>